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699" r:id="rId6"/>
    <p:sldMasterId id="2147483738" r:id="rId7"/>
  </p:sldMasterIdLst>
  <p:notesMasterIdLst>
    <p:notesMasterId r:id="rId21"/>
  </p:notesMasterIdLst>
  <p:handoutMasterIdLst>
    <p:handoutMasterId r:id="rId22"/>
  </p:handoutMasterIdLst>
  <p:sldIdLst>
    <p:sldId id="818" r:id="rId8"/>
    <p:sldId id="829" r:id="rId9"/>
    <p:sldId id="756" r:id="rId10"/>
    <p:sldId id="831" r:id="rId11"/>
    <p:sldId id="832" r:id="rId12"/>
    <p:sldId id="841" r:id="rId13"/>
    <p:sldId id="835" r:id="rId14"/>
    <p:sldId id="842" r:id="rId15"/>
    <p:sldId id="843" r:id="rId16"/>
    <p:sldId id="816" r:id="rId17"/>
    <p:sldId id="809" r:id="rId18"/>
    <p:sldId id="814" r:id="rId19"/>
    <p:sldId id="822" r:id="rId20"/>
  </p:sldIdLst>
  <p:sldSz cx="12192000" cy="6858000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jendran, Rajagopalan" initials="VR" lastIdx="1" clrIdx="0">
    <p:extLst>
      <p:ext uri="{19B8F6BF-5375-455C-9EA6-DF929625EA0E}">
        <p15:presenceInfo xmlns:p15="http://schemas.microsoft.com/office/powerpoint/2012/main" userId="S-1-5-21-1343024091-879983540-725345543-1309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2F2F2"/>
    <a:srgbClr val="D9D9D9"/>
    <a:srgbClr val="D00000"/>
    <a:srgbClr val="FF33CC"/>
    <a:srgbClr val="C6C9CA"/>
    <a:srgbClr val="6699FF"/>
    <a:srgbClr val="787871"/>
    <a:srgbClr val="D5FF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69B23D-07F3-4CD2-BB70-1F69C5906CB6}" v="111" dt="2020-07-08T07:51:54.683"/>
    <p1510:client id="{EFAB7A0D-3262-4EA6-917A-AB53A1E3BA5E}" v="15" dt="2020-06-30T17:29:29.754"/>
  </p1510:revLst>
</p1510:revInfo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79" autoAdjust="0"/>
    <p:restoredTop sz="95337" autoAdjust="0"/>
  </p:normalViewPr>
  <p:slideViewPr>
    <p:cSldViewPr snapToGrid="0">
      <p:cViewPr varScale="1">
        <p:scale>
          <a:sx n="72" d="100"/>
          <a:sy n="72" d="100"/>
        </p:scale>
        <p:origin x="1044" y="66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charya, Bhabanish" userId="S::bhabanish.acharya@hpe.com::65ea78ac-ff02-46ce-a3fa-022c147e7f80" providerId="AD" clId="Web-{A569B23D-07F3-4CD2-BB70-1F69C5906CB6}"/>
    <pc:docChg chg="modSld">
      <pc:chgData name="Acharya, Bhabanish" userId="S::bhabanish.acharya@hpe.com::65ea78ac-ff02-46ce-a3fa-022c147e7f80" providerId="AD" clId="Web-{A569B23D-07F3-4CD2-BB70-1F69C5906CB6}" dt="2020-07-08T07:51:38.074" v="84"/>
      <pc:docMkLst>
        <pc:docMk/>
      </pc:docMkLst>
      <pc:sldChg chg="modSp">
        <pc:chgData name="Acharya, Bhabanish" userId="S::bhabanish.acharya@hpe.com::65ea78ac-ff02-46ce-a3fa-022c147e7f80" providerId="AD" clId="Web-{A569B23D-07F3-4CD2-BB70-1F69C5906CB6}" dt="2020-07-08T07:51:38.074" v="84"/>
        <pc:sldMkLst>
          <pc:docMk/>
          <pc:sldMk cId="1504491306" sldId="808"/>
        </pc:sldMkLst>
        <pc:graphicFrameChg chg="mod modGraphic">
          <ac:chgData name="Acharya, Bhabanish" userId="S::bhabanish.acharya@hpe.com::65ea78ac-ff02-46ce-a3fa-022c147e7f80" providerId="AD" clId="Web-{A569B23D-07F3-4CD2-BB70-1F69C5906CB6}" dt="2020-07-08T07:51:38.074" v="84"/>
          <ac:graphicFrameMkLst>
            <pc:docMk/>
            <pc:sldMk cId="1504491306" sldId="808"/>
            <ac:graphicFrameMk id="9" creationId="{00000000-0000-0000-0000-000000000000}"/>
          </ac:graphicFrameMkLst>
        </pc:graphicFrameChg>
      </pc:sldChg>
    </pc:docChg>
  </pc:docChgLst>
  <pc:docChgLst>
    <pc:chgData name="Natanasabapathy, Gautham (The N13Y one)" userId="fe63d060-1482-4339-8e63-dd95b67e2807" providerId="ADAL" clId="{5CBF02EC-16B5-47A4-9CE3-7E48C6B45FB0}"/>
    <pc:docChg chg="custSel modSld">
      <pc:chgData name="Natanasabapathy, Gautham (The N13Y one)" userId="fe63d060-1482-4339-8e63-dd95b67e2807" providerId="ADAL" clId="{5CBF02EC-16B5-47A4-9CE3-7E48C6B45FB0}" dt="2020-06-30T17:30:11.820" v="1485" actId="20577"/>
      <pc:docMkLst>
        <pc:docMk/>
      </pc:docMkLst>
      <pc:sldChg chg="addSp modSp">
        <pc:chgData name="Natanasabapathy, Gautham (The N13Y one)" userId="fe63d060-1482-4339-8e63-dd95b67e2807" providerId="ADAL" clId="{5CBF02EC-16B5-47A4-9CE3-7E48C6B45FB0}" dt="2020-06-30T17:27:20.190" v="1431" actId="1076"/>
        <pc:sldMkLst>
          <pc:docMk/>
          <pc:sldMk cId="3506836460" sldId="723"/>
        </pc:sldMkLst>
        <pc:spChg chg="add mod">
          <ac:chgData name="Natanasabapathy, Gautham (The N13Y one)" userId="fe63d060-1482-4339-8e63-dd95b67e2807" providerId="ADAL" clId="{5CBF02EC-16B5-47A4-9CE3-7E48C6B45FB0}" dt="2020-06-30T17:26:57.691" v="1427" actId="14100"/>
          <ac:spMkLst>
            <pc:docMk/>
            <pc:sldMk cId="3506836460" sldId="723"/>
            <ac:spMk id="33" creationId="{B79DFF53-D694-4B36-9F53-8ADDAAA88A60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7:10.274" v="1429" actId="1076"/>
          <ac:spMkLst>
            <pc:docMk/>
            <pc:sldMk cId="3506836460" sldId="723"/>
            <ac:spMk id="34" creationId="{6998CFF6-A174-4F07-B33C-E8EE50C335BC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7:20.190" v="1431" actId="1076"/>
          <ac:spMkLst>
            <pc:docMk/>
            <pc:sldMk cId="3506836460" sldId="723"/>
            <ac:spMk id="36" creationId="{D229D31E-229F-4693-AEF7-423EA78A9A28}"/>
          </ac:spMkLst>
        </pc:spChg>
      </pc:sldChg>
      <pc:sldChg chg="addSp modSp">
        <pc:chgData name="Natanasabapathy, Gautham (The N13Y one)" userId="fe63d060-1482-4339-8e63-dd95b67e2807" providerId="ADAL" clId="{5CBF02EC-16B5-47A4-9CE3-7E48C6B45FB0}" dt="2020-06-30T17:22:59.417" v="1077" actId="20577"/>
        <pc:sldMkLst>
          <pc:docMk/>
          <pc:sldMk cId="376807066" sldId="749"/>
        </pc:sldMkLst>
        <pc:spChg chg="mod">
          <ac:chgData name="Natanasabapathy, Gautham (The N13Y one)" userId="fe63d060-1482-4339-8e63-dd95b67e2807" providerId="ADAL" clId="{5CBF02EC-16B5-47A4-9CE3-7E48C6B45FB0}" dt="2020-06-30T17:17:40.854" v="702" actId="20577"/>
          <ac:spMkLst>
            <pc:docMk/>
            <pc:sldMk cId="376807066" sldId="749"/>
            <ac:spMk id="6" creationId="{00000000-0000-0000-0000-000000000000}"/>
          </ac:spMkLst>
        </pc:spChg>
        <pc:spChg chg="mod">
          <ac:chgData name="Natanasabapathy, Gautham (The N13Y one)" userId="fe63d060-1482-4339-8e63-dd95b67e2807" providerId="ADAL" clId="{5CBF02EC-16B5-47A4-9CE3-7E48C6B45FB0}" dt="2020-06-30T17:21:51.599" v="877" actId="20577"/>
          <ac:spMkLst>
            <pc:docMk/>
            <pc:sldMk cId="376807066" sldId="749"/>
            <ac:spMk id="9" creationId="{00000000-0000-0000-0000-000000000000}"/>
          </ac:spMkLst>
        </pc:spChg>
        <pc:spChg chg="add mod">
          <ac:chgData name="Natanasabapathy, Gautham (The N13Y one)" userId="fe63d060-1482-4339-8e63-dd95b67e2807" providerId="ADAL" clId="{5CBF02EC-16B5-47A4-9CE3-7E48C6B45FB0}" dt="2020-06-30T17:19:18.326" v="780" actId="20577"/>
          <ac:spMkLst>
            <pc:docMk/>
            <pc:sldMk cId="376807066" sldId="749"/>
            <ac:spMk id="34" creationId="{D288FBB5-A7FA-4936-9742-BBA4F85F8774}"/>
          </ac:spMkLst>
        </pc:spChg>
        <pc:spChg chg="add mod">
          <ac:chgData name="Natanasabapathy, Gautham (The N13Y one)" userId="fe63d060-1482-4339-8e63-dd95b67e2807" providerId="ADAL" clId="{5CBF02EC-16B5-47A4-9CE3-7E48C6B45FB0}" dt="2020-06-30T17:10:50.933" v="182" actId="20577"/>
          <ac:spMkLst>
            <pc:docMk/>
            <pc:sldMk cId="376807066" sldId="749"/>
            <ac:spMk id="35" creationId="{DCA70EFE-3BEC-41CA-A48A-8BF8FEE6C359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2:59.417" v="1077" actId="20577"/>
          <ac:spMkLst>
            <pc:docMk/>
            <pc:sldMk cId="376807066" sldId="749"/>
            <ac:spMk id="36" creationId="{BFBFB553-CC31-4D44-9E88-AF183F7AF130}"/>
          </ac:spMkLst>
        </pc:spChg>
      </pc:sldChg>
      <pc:sldChg chg="addSp modSp">
        <pc:chgData name="Natanasabapathy, Gautham (The N13Y one)" userId="fe63d060-1482-4339-8e63-dd95b67e2807" providerId="ADAL" clId="{5CBF02EC-16B5-47A4-9CE3-7E48C6B45FB0}" dt="2020-06-30T17:25:10.668" v="1218" actId="14100"/>
        <pc:sldMkLst>
          <pc:docMk/>
          <pc:sldMk cId="3026926173" sldId="751"/>
        </pc:sldMkLst>
        <pc:spChg chg="mod">
          <ac:chgData name="Natanasabapathy, Gautham (The N13Y one)" userId="fe63d060-1482-4339-8e63-dd95b67e2807" providerId="ADAL" clId="{5CBF02EC-16B5-47A4-9CE3-7E48C6B45FB0}" dt="2020-06-30T17:13:48.344" v="416" actId="20577"/>
          <ac:spMkLst>
            <pc:docMk/>
            <pc:sldMk cId="3026926173" sldId="751"/>
            <ac:spMk id="4" creationId="{00000000-0000-0000-0000-000000000000}"/>
          </ac:spMkLst>
        </pc:spChg>
        <pc:spChg chg="mod">
          <ac:chgData name="Natanasabapathy, Gautham (The N13Y one)" userId="fe63d060-1482-4339-8e63-dd95b67e2807" providerId="ADAL" clId="{5CBF02EC-16B5-47A4-9CE3-7E48C6B45FB0}" dt="2020-06-30T17:11:08.024" v="189" actId="14100"/>
          <ac:spMkLst>
            <pc:docMk/>
            <pc:sldMk cId="3026926173" sldId="751"/>
            <ac:spMk id="7" creationId="{5DA9B326-14AE-4246-8464-5D99FE0FCF22}"/>
          </ac:spMkLst>
        </pc:spChg>
        <pc:spChg chg="add mod">
          <ac:chgData name="Natanasabapathy, Gautham (The N13Y one)" userId="fe63d060-1482-4339-8e63-dd95b67e2807" providerId="ADAL" clId="{5CBF02EC-16B5-47A4-9CE3-7E48C6B45FB0}" dt="2020-06-30T17:10:57.230" v="184" actId="1076"/>
          <ac:spMkLst>
            <pc:docMk/>
            <pc:sldMk cId="3026926173" sldId="751"/>
            <ac:spMk id="8" creationId="{0892173C-9ABC-4675-B930-9E3E5ECDEE06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5:10.668" v="1218" actId="14100"/>
          <ac:spMkLst>
            <pc:docMk/>
            <pc:sldMk cId="3026926173" sldId="751"/>
            <ac:spMk id="9" creationId="{D8457FE8-035A-465E-AFDA-AEF182122B06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5:06.330" v="1217" actId="14100"/>
          <ac:spMkLst>
            <pc:docMk/>
            <pc:sldMk cId="3026926173" sldId="751"/>
            <ac:spMk id="10" creationId="{80E5F31E-EA7B-457A-823A-5AEC0293BEEE}"/>
          </ac:spMkLst>
        </pc:spChg>
        <pc:spChg chg="add mod">
          <ac:chgData name="Natanasabapathy, Gautham (The N13Y one)" userId="fe63d060-1482-4339-8e63-dd95b67e2807" providerId="ADAL" clId="{5CBF02EC-16B5-47A4-9CE3-7E48C6B45FB0}" dt="2020-06-30T17:14:51.004" v="498" actId="14100"/>
          <ac:spMkLst>
            <pc:docMk/>
            <pc:sldMk cId="3026926173" sldId="751"/>
            <ac:spMk id="11" creationId="{A195337A-B3F3-4B97-AF62-BF2A2E98B459}"/>
          </ac:spMkLst>
        </pc:spChg>
        <pc:spChg chg="add mod">
          <ac:chgData name="Natanasabapathy, Gautham (The N13Y one)" userId="fe63d060-1482-4339-8e63-dd95b67e2807" providerId="ADAL" clId="{5CBF02EC-16B5-47A4-9CE3-7E48C6B45FB0}" dt="2020-06-30T17:15:58.849" v="641" actId="14100"/>
          <ac:spMkLst>
            <pc:docMk/>
            <pc:sldMk cId="3026926173" sldId="751"/>
            <ac:spMk id="12" creationId="{BDA95E12-9AF9-4054-A150-871409E1EAE1}"/>
          </ac:spMkLst>
        </pc:spChg>
      </pc:sldChg>
      <pc:sldChg chg="addSp modSp">
        <pc:chgData name="Natanasabapathy, Gautham (The N13Y one)" userId="fe63d060-1482-4339-8e63-dd95b67e2807" providerId="ADAL" clId="{5CBF02EC-16B5-47A4-9CE3-7E48C6B45FB0}" dt="2020-06-30T17:25:57.337" v="1322" actId="20577"/>
        <pc:sldMkLst>
          <pc:docMk/>
          <pc:sldMk cId="2329884733" sldId="752"/>
        </pc:sldMkLst>
        <pc:spChg chg="add mod">
          <ac:chgData name="Natanasabapathy, Gautham (The N13Y one)" userId="fe63d060-1482-4339-8e63-dd95b67e2807" providerId="ADAL" clId="{5CBF02EC-16B5-47A4-9CE3-7E48C6B45FB0}" dt="2020-06-30T17:25:35.056" v="1258" actId="20577"/>
          <ac:spMkLst>
            <pc:docMk/>
            <pc:sldMk cId="2329884733" sldId="752"/>
            <ac:spMk id="8" creationId="{DFDF20A2-AF9D-4C85-9474-E14F6BA7F3DD}"/>
          </ac:spMkLst>
        </pc:spChg>
        <pc:spChg chg="add mod">
          <ac:chgData name="Natanasabapathy, Gautham (The N13Y one)" userId="fe63d060-1482-4339-8e63-dd95b67e2807" providerId="ADAL" clId="{5CBF02EC-16B5-47A4-9CE3-7E48C6B45FB0}" dt="2020-06-30T17:25:57.337" v="1322" actId="20577"/>
          <ac:spMkLst>
            <pc:docMk/>
            <pc:sldMk cId="2329884733" sldId="752"/>
            <ac:spMk id="9" creationId="{1BDF9703-DE39-45F8-A497-D1561E0DFB3F}"/>
          </ac:spMkLst>
        </pc:spChg>
      </pc:sldChg>
      <pc:sldChg chg="addSp modSp">
        <pc:chgData name="Natanasabapathy, Gautham (The N13Y one)" userId="fe63d060-1482-4339-8e63-dd95b67e2807" providerId="ADAL" clId="{5CBF02EC-16B5-47A4-9CE3-7E48C6B45FB0}" dt="2020-06-30T17:30:11.820" v="1485" actId="20577"/>
        <pc:sldMkLst>
          <pc:docMk/>
          <pc:sldMk cId="414386123" sldId="783"/>
        </pc:sldMkLst>
        <pc:spChg chg="add mod">
          <ac:chgData name="Natanasabapathy, Gautham (The N13Y one)" userId="fe63d060-1482-4339-8e63-dd95b67e2807" providerId="ADAL" clId="{5CBF02EC-16B5-47A4-9CE3-7E48C6B45FB0}" dt="2020-06-30T17:30:11.820" v="1485" actId="20577"/>
          <ac:spMkLst>
            <pc:docMk/>
            <pc:sldMk cId="414386123" sldId="783"/>
            <ac:spMk id="5" creationId="{628B4D32-7E72-45E8-87ED-338164DFDF2F}"/>
          </ac:spMkLst>
        </pc:spChg>
        <pc:spChg chg="mod">
          <ac:chgData name="Natanasabapathy, Gautham (The N13Y one)" userId="fe63d060-1482-4339-8e63-dd95b67e2807" providerId="ADAL" clId="{5CBF02EC-16B5-47A4-9CE3-7E48C6B45FB0}" dt="2020-06-30T17:29:42.671" v="1435" actId="179"/>
          <ac:spMkLst>
            <pc:docMk/>
            <pc:sldMk cId="414386123" sldId="783"/>
            <ac:spMk id="10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8/27/2020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387350"/>
            <a:ext cx="4651375" cy="2616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9467" y="3176270"/>
            <a:ext cx="6231467" cy="5422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9467" y="8831580"/>
            <a:ext cx="4985173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97787" y="8831580"/>
            <a:ext cx="623147" cy="2307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+mn-lt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MetricHPE Light" panose="020B0303030202060203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MetricHPE Light" panose="020B0303030202060203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359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855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low</a:t>
            </a:r>
            <a:r>
              <a:rPr lang="en-US" sz="11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the l</a:t>
            </a:r>
            <a:r>
              <a:rPr lang="en-US" sz="11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 of boundaries and equipment constraints that we</a:t>
            </a:r>
            <a:r>
              <a:rPr lang="en-US" sz="11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n’t tested for the code coverage during R&amp;D Development phase.</a:t>
            </a:r>
          </a:p>
          <a:p>
            <a:endParaRPr lang="en-US" sz="11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nergy</a:t>
            </a:r>
            <a:r>
              <a:rPr lang="en-US" sz="1400" u="sng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CS750 Solution </a:t>
            </a:r>
            <a:endParaRPr lang="en-US" sz="1400" u="sng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Multiple Logical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closure of 3 Frame each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-- minimum 6 Frames, </a:t>
            </a:r>
            <a:r>
              <a:rPr lang="en-US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to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1 Frames</a:t>
            </a: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Logical enclosure comprising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Frame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4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700</a:t>
            </a: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VMware  6.7 version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1" indent="-36576">
              <a:buFont typeface="Wingdings" panose="05000000000000000000" pitchFamily="2" charset="2"/>
              <a:buChar char="q"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CS700 setup with May 2019 recipe</a:t>
            </a:r>
            <a:b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/>
              <a:t>Release notes open</a:t>
            </a:r>
            <a:r>
              <a:rPr lang="en-US" sz="1400" baseline="0"/>
              <a:t> for any late breaking information. On approval, this will turn blue. </a:t>
            </a:r>
          </a:p>
          <a:p>
            <a:endParaRPr lang="en-US" sz="1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377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71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283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797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397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44" indent="0">
              <a:buNone/>
            </a:pPr>
            <a:r>
              <a:rPr lang="en-US">
                <a:latin typeface="+mn-lt"/>
              </a:rPr>
              <a:t>SCID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13: </a:t>
            </a:r>
            <a:r>
              <a:rPr lang="en-US" err="1">
                <a:latin typeface="+mn-lt"/>
              </a:rPr>
              <a:t>Refinitiv</a:t>
            </a:r>
            <a:r>
              <a:rPr lang="en-US">
                <a:latin typeface="+mn-lt"/>
              </a:rPr>
              <a:t> order fixes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28: SAP HANA</a:t>
            </a:r>
          </a:p>
          <a:p>
            <a:pPr marL="45720" indent="-36576">
              <a:buFontTx/>
              <a:buChar char="-"/>
            </a:pPr>
            <a:r>
              <a:rPr lang="en-US">
                <a:latin typeface="+mn-lt"/>
              </a:rPr>
              <a:t>May 20: PI-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553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18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19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63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411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74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450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5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43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97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107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31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92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60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552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424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58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820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272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31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61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42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678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105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22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8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82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044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079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1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7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96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812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13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60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809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10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6581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FC93D-9D00-450B-AC90-F33862C7F8F3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87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8310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65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6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August 27, 2020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256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August 27, 2020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23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/>
              <a:t>August 27, 2020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362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7095" y="903663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133" b="0" i="0">
                <a:solidFill>
                  <a:schemeClr val="bg1">
                    <a:lumMod val="65000"/>
                  </a:schemeClr>
                </a:solidFill>
                <a:latin typeface="HP Simplified" pitchFamily="34" charset="0"/>
                <a:cs typeface="HP Simplified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A63609CC-B9F0-4313-AF68-9B0AEC4281F7}" type="datetime4">
              <a:rPr lang="en-US" smtClean="0">
                <a:solidFill>
                  <a:prstClr val="black"/>
                </a:solidFill>
              </a:rPr>
              <a:pPr/>
              <a:t>August 27, 20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1" y="6426104"/>
            <a:ext cx="40251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z="800">
                <a:solidFill>
                  <a:prstClr val="black"/>
                </a:solidFill>
              </a:rPr>
              <a:t>Confidential  –  EG </a:t>
            </a:r>
            <a:r>
              <a:rPr lang="en-US" sz="800">
                <a:solidFill>
                  <a:prstClr val="black"/>
                </a:solidFill>
                <a:latin typeface="Lucida Calligraphy" panose="03010101010101010101" pitchFamily="66" charset="0"/>
                <a:cs typeface="Arial" charset="0"/>
              </a:rPr>
              <a:t>Agile</a:t>
            </a:r>
            <a:r>
              <a:rPr lang="en-US" sz="800">
                <a:solidFill>
                  <a:prstClr val="black"/>
                </a:solidFill>
                <a:latin typeface="HP Simplified" pitchFamily="34" charset="0"/>
                <a:cs typeface="Arial" charset="0"/>
              </a:rPr>
              <a:t>  </a:t>
            </a:r>
            <a:r>
              <a:rPr lang="en-US" sz="800">
                <a:solidFill>
                  <a:prstClr val="black"/>
                </a:solidFill>
              </a:rPr>
              <a:t>Concept Commit Checkpoint Template v3.1 -  Mar 04, 2016</a:t>
            </a:r>
            <a:endParaRPr lang="en-US" sz="800">
              <a:solidFill>
                <a:prstClr val="black"/>
              </a:solidFill>
              <a:latin typeface="HP Simplified" pitchFamily="34" charset="0"/>
              <a:cs typeface="Arial" charset="0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2" y="6430869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2396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7093" y="847050"/>
            <a:ext cx="10822941" cy="369332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33" b="0" i="0">
                <a:solidFill>
                  <a:schemeClr val="bg1">
                    <a:lumMod val="65000"/>
                  </a:schemeClr>
                </a:solidFill>
                <a:latin typeface="HP Simplified" pitchFamily="34" charset="0"/>
                <a:cs typeface="HP Simplified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7094" y="457200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72B6D74-DD33-4E63-8FD0-3DF81AC79CBB}" type="datetime4">
              <a:rPr lang="en-US" smtClean="0">
                <a:solidFill>
                  <a:prstClr val="black"/>
                </a:solidFill>
              </a:rPr>
              <a:pPr/>
              <a:t>August 27, 20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5601" y="6400500"/>
            <a:ext cx="4253799" cy="2369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z="800">
                <a:solidFill>
                  <a:prstClr val="black"/>
                </a:solidFill>
              </a:rPr>
              <a:t>Confidential - </a:t>
            </a:r>
            <a:r>
              <a:rPr lang="en-US" sz="800">
                <a:solidFill>
                  <a:prstClr val="black"/>
                </a:solidFill>
                <a:cs typeface="Arial" charset="0"/>
              </a:rPr>
              <a:t>EG </a:t>
            </a:r>
            <a:r>
              <a:rPr lang="en-US" sz="800">
                <a:solidFill>
                  <a:prstClr val="black"/>
                </a:solidFill>
                <a:latin typeface="Lucida Calligraphy" panose="03010101010101010101" pitchFamily="66" charset="0"/>
                <a:cs typeface="Arial" charset="0"/>
              </a:rPr>
              <a:t>Agile</a:t>
            </a:r>
            <a:r>
              <a:rPr lang="en-US" sz="800">
                <a:solidFill>
                  <a:prstClr val="black"/>
                </a:solidFill>
                <a:cs typeface="Arial" charset="0"/>
              </a:rPr>
              <a:t> Release Planning Checkpoint Template v3.0 -  Nov 20, 2015</a:t>
            </a:r>
            <a:r>
              <a:rPr lang="en-US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2" y="6430869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C6C9CA"/>
                </a:solidFill>
              </a:rPr>
              <a:pPr/>
              <a:t>‹#›</a:t>
            </a:fld>
            <a:endParaRPr>
              <a:solidFill>
                <a:srgbClr val="C6C9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7404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/>
              <a:t>August 27, 2020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25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" pitchFamily="2" charset="0"/>
              </a:defRPr>
            </a:lvl1pPr>
          </a:lstStyle>
          <a:p>
            <a:r>
              <a:t>Click to add one-lin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2"/>
            <a:ext cx="10969784" cy="4800599"/>
          </a:xfrm>
        </p:spPr>
        <p:txBody>
          <a:bodyPr/>
          <a:lstStyle>
            <a:lvl1pPr>
              <a:defRPr>
                <a:latin typeface="Metric" pitchFamily="2" charset="0"/>
              </a:defRPr>
            </a:lvl1pPr>
            <a:lvl2pPr>
              <a:defRPr>
                <a:latin typeface="Metric" pitchFamily="2" charset="0"/>
              </a:defRPr>
            </a:lvl2pPr>
            <a:lvl3pPr>
              <a:defRPr>
                <a:latin typeface="Metric" pitchFamily="2" charset="0"/>
              </a:defRPr>
            </a:lvl3pPr>
            <a:lvl4pPr>
              <a:defRPr>
                <a:latin typeface="Metric" pitchFamily="2" charset="0"/>
              </a:defRPr>
            </a:lvl4pPr>
            <a:lvl5pPr>
              <a:defRPr>
                <a:latin typeface="Metric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3" y="6426104"/>
            <a:ext cx="995579" cy="210312"/>
          </a:xfrm>
          <a:prstGeom prst="rect">
            <a:avLst/>
          </a:prstGeom>
        </p:spPr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ugust 27, 2020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1" y="6426104"/>
            <a:ext cx="4025199" cy="21031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84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/>
              <a:t>August 27, 2020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402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96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74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560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91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365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8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8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493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7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21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11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045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8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8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51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796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68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99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4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702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6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895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8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648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86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65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028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3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25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96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63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65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76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874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50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85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01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10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0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8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748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09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6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77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8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58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8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01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2715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8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16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786384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18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010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91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932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50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3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214424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205728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92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0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6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978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3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2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96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57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44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77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86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961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123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25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205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28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448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5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7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5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885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25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940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EFC93D-9D00-450B-AC90-F33862C7F8F3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84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126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6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6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40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313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99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61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2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59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6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B0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0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20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7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7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oleObject" Target="../embeddings/oleObject40.bin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tags" Target="../tags/tag41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vmlDrawing" Target="../drawings/vmlDrawing40.v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image" Target="../media/image2.jpe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oleObject" Target="../embeddings/oleObject79.bin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3.png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89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9.vml"/><Relationship Id="rId11" Type="http://schemas.openxmlformats.org/officeDocument/2006/relationships/tags" Target="../tags/tag84.xml"/><Relationship Id="rId5" Type="http://schemas.openxmlformats.org/officeDocument/2006/relationships/theme" Target="../theme/theme3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89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624914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Slide" r:id="rId51" imgW="473" imgH="476" progId="TCLayout.ActiveDocument.1">
                  <p:embed/>
                </p:oleObj>
              </mc:Choice>
              <mc:Fallback>
                <p:oleObj name="think-cell Slide" r:id="rId51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54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54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5" r:id="rId2"/>
    <p:sldLayoutId id="2147483660" r:id="rId3"/>
    <p:sldLayoutId id="2147483651" r:id="rId4"/>
    <p:sldLayoutId id="2147483661" r:id="rId5"/>
    <p:sldLayoutId id="2147483662" r:id="rId6"/>
    <p:sldLayoutId id="2147483663" r:id="rId7"/>
    <p:sldLayoutId id="2147483685" r:id="rId8"/>
    <p:sldLayoutId id="2147483686" r:id="rId9"/>
    <p:sldLayoutId id="2147483666" r:id="rId10"/>
    <p:sldLayoutId id="2147483687" r:id="rId11"/>
    <p:sldLayoutId id="2147483650" r:id="rId12"/>
    <p:sldLayoutId id="2147483668" r:id="rId13"/>
    <p:sldLayoutId id="2147483669" r:id="rId14"/>
    <p:sldLayoutId id="2147483654" r:id="rId15"/>
    <p:sldLayoutId id="2147483679" r:id="rId16"/>
    <p:sldLayoutId id="2147483655" r:id="rId17"/>
    <p:sldLayoutId id="2147483652" r:id="rId18"/>
    <p:sldLayoutId id="2147483653" r:id="rId19"/>
    <p:sldLayoutId id="2147483670" r:id="rId20"/>
    <p:sldLayoutId id="2147483671" r:id="rId21"/>
    <p:sldLayoutId id="2147483672" r:id="rId22"/>
    <p:sldLayoutId id="2147483673" r:id="rId23"/>
    <p:sldLayoutId id="2147483656" r:id="rId24"/>
    <p:sldLayoutId id="2147483657" r:id="rId25"/>
    <p:sldLayoutId id="2147483697" r:id="rId26"/>
    <p:sldLayoutId id="2147483676" r:id="rId27"/>
    <p:sldLayoutId id="2147483677" r:id="rId28"/>
    <p:sldLayoutId id="2147483678" r:id="rId29"/>
    <p:sldLayoutId id="2147483649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8" r:id="rId38"/>
    <p:sldLayoutId id="2147483743" r:id="rId39"/>
    <p:sldLayoutId id="2147483744" r:id="rId40"/>
    <p:sldLayoutId id="2147483745" r:id="rId41"/>
    <p:sldLayoutId id="2147483746" r:id="rId42"/>
    <p:sldLayoutId id="2147483758" r:id="rId43"/>
    <p:sldLayoutId id="2147483761" r:id="rId44"/>
    <p:sldLayoutId id="2147483762" r:id="rId45"/>
    <p:sldLayoutId id="2147483772" r:id="rId46"/>
    <p:sldLayoutId id="2147483773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088418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5" name="think-cell Slide" r:id="rId42" imgW="473" imgH="476" progId="TCLayout.ActiveDocument.1">
                  <p:embed/>
                </p:oleObj>
              </mc:Choice>
              <mc:Fallback>
                <p:oleObj name="think-cell Slide" r:id="rId42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4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45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45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862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4685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1" name="think-cell Slide" r:id="rId18" imgW="384" imgH="384" progId="TCLayout.ActiveDocument.1">
                  <p:embed/>
                </p:oleObj>
              </mc:Choice>
              <mc:Fallback>
                <p:oleObj name="think-cell Slide" r:id="rId18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20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pPr defTabSz="1088421">
              <a:buFontTx/>
              <a:buBlip>
                <a:blip r:embed="rId21"/>
              </a:buBlip>
            </a:pPr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>
                <a:buFontTx/>
                <a:buBlip>
                  <a:blip r:embed="rId21"/>
                </a:buBlip>
              </a:pPr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</a:t>
            </a:r>
          </a:p>
        </p:txBody>
      </p:sp>
      <p:grpSp>
        <p:nvGrpSpPr>
          <p:cNvPr id="8" name="Harvey 8" hidden="1"/>
          <p:cNvGrpSpPr>
            <a:grpSpLocks/>
          </p:cNvGrpSpPr>
          <p:nvPr userDrawn="1">
            <p:custDataLst>
              <p:tags r:id="rId8"/>
            </p:custDataLst>
          </p:nvPr>
        </p:nvGrpSpPr>
        <p:grpSpPr>
          <a:xfrm>
            <a:off x="12319000" y="0"/>
            <a:ext cx="292608" cy="292608"/>
            <a:chOff x="0" y="0"/>
            <a:chExt cx="914400" cy="914400"/>
          </a:xfrm>
          <a:solidFill>
            <a:schemeClr val="tx1"/>
          </a:solidFill>
        </p:grpSpPr>
        <p:sp>
          <p:nvSpPr>
            <p:cNvPr id="9" name="Harvey 0/8 [0]" hidden="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Harvey 1/8 [1]" hidden="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Harvey 2/8 [2]" hidden="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Harvey 3/8 [3]" hidden="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Harvey 4/8 [4]" hidden="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Harvey 5/8 [5]" hidden="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Harvey 6/8 [6]" hidden="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Harvey 7/8 [7]" hidden="1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Harvey 8/8 [8]" hidden="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296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Lucida Calligraphy"/>
              </a:rPr>
              <a:t>Agile</a:t>
            </a:r>
            <a:r>
              <a:rPr lang="en-US" sz="2800" dirty="0">
                <a:latin typeface="MetricHPE Black"/>
              </a:rPr>
              <a:t> Product Release Grant (</a:t>
            </a:r>
            <a:r>
              <a:rPr lang="en-US" sz="2800" dirty="0">
                <a:solidFill>
                  <a:srgbClr val="00A982"/>
                </a:solidFill>
                <a:latin typeface="MetricHPE Black"/>
              </a:rPr>
              <a:t>PRG</a:t>
            </a:r>
            <a:r>
              <a:rPr lang="en-US" sz="2800" dirty="0">
                <a:latin typeface="MetricHPE Black"/>
              </a:rPr>
              <a:t>) Checkpoint</a:t>
            </a:r>
            <a:br>
              <a:rPr lang="en-US" sz="2800" dirty="0"/>
            </a:br>
            <a:r>
              <a:rPr lang="en-US" sz="2800" dirty="0">
                <a:solidFill>
                  <a:srgbClr val="01A982"/>
                </a:solidFill>
                <a:latin typeface="MetricHPE Black"/>
              </a:rPr>
              <a:t>SSD Selector in Azure – v1</a:t>
            </a:r>
            <a:endParaRPr lang="en-US" dirty="0">
              <a:latin typeface="MetricHPE Black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/>
              <a:t> </a:t>
            </a:r>
            <a:r>
              <a:rPr lang="en-US" sz="2000" i="1"/>
              <a:t>(HPE Confidential)</a:t>
            </a:r>
            <a:endParaRPr lang="en-US" sz="20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 fontScale="62500" lnSpcReduction="20000"/>
          </a:bodyPr>
          <a:lstStyle/>
          <a:p>
            <a:pPr>
              <a:spcBef>
                <a:spcPts val="600"/>
              </a:spcBef>
            </a:pPr>
            <a:r>
              <a:rPr lang="en-US" sz="1800" dirty="0">
                <a:latin typeface="MetricHPE Light"/>
              </a:rPr>
              <a:t>Date: 3/Aug/2020</a:t>
            </a:r>
          </a:p>
          <a:p>
            <a:pPr>
              <a:spcBef>
                <a:spcPts val="600"/>
              </a:spcBef>
            </a:pPr>
            <a:r>
              <a:rPr lang="en-US" sz="1800" dirty="0">
                <a:latin typeface="MetricHPE Light"/>
              </a:rPr>
              <a:t>Document Rev:  v1.0</a:t>
            </a:r>
          </a:p>
          <a:p>
            <a:pPr>
              <a:spcBef>
                <a:spcPts val="600"/>
              </a:spcBef>
            </a:pPr>
            <a:endParaRPr lang="en-US" sz="1800" dirty="0"/>
          </a:p>
        </p:txBody>
      </p:sp>
      <p:sp>
        <p:nvSpPr>
          <p:cNvPr id="12" name="TextBox 15"/>
          <p:cNvSpPr txBox="1"/>
          <p:nvPr/>
        </p:nvSpPr>
        <p:spPr>
          <a:xfrm>
            <a:off x="9426067" y="4522771"/>
            <a:ext cx="8899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9pPr>
          </a:lstStyle>
          <a:p>
            <a:r>
              <a:rPr lang="en-US" sz="800" b="1">
                <a:solidFill>
                  <a:prstClr val="black"/>
                </a:solidFill>
                <a:latin typeface="Arial" panose="020B0604020202020204"/>
              </a:rPr>
              <a:t>EG</a:t>
            </a:r>
            <a:r>
              <a:rPr lang="en-US" sz="800" b="1">
                <a:solidFill>
                  <a:prstClr val="black"/>
                </a:solidFill>
                <a:latin typeface="HP Simplified" pitchFamily="34" charset="0"/>
              </a:rPr>
              <a:t> </a:t>
            </a:r>
            <a:r>
              <a:rPr lang="en-US" sz="800" b="1">
                <a:solidFill>
                  <a:prstClr val="black"/>
                </a:solidFill>
                <a:latin typeface="Lucida Calligraphy" panose="03010101010101010101" pitchFamily="66" charset="0"/>
              </a:rPr>
              <a:t>Agile </a:t>
            </a:r>
            <a:r>
              <a:rPr lang="en-US" sz="800" b="1">
                <a:solidFill>
                  <a:prstClr val="black"/>
                </a:solidFill>
                <a:latin typeface="Arial" panose="020B0604020202020204"/>
              </a:rPr>
              <a:t>PDP</a:t>
            </a:r>
          </a:p>
        </p:txBody>
      </p:sp>
      <p:sp>
        <p:nvSpPr>
          <p:cNvPr id="15" name="Footer Placeholder 1"/>
          <p:cNvSpPr txBox="1">
            <a:spLocks/>
          </p:cNvSpPr>
          <p:nvPr/>
        </p:nvSpPr>
        <p:spPr>
          <a:xfrm>
            <a:off x="7848602" y="5972035"/>
            <a:ext cx="4241007" cy="7051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/>
                </a:solidFill>
              </a:rPr>
              <a:t>Confidential  –  EG Agile Release Planning Checkpoint Template v5.0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9693" y="4744176"/>
            <a:ext cx="3496508" cy="8946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675326" y="566777"/>
            <a:ext cx="4163920" cy="6347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31"/>
          <a:stretch/>
        </p:blipFill>
        <p:spPr>
          <a:xfrm>
            <a:off x="10028650" y="467335"/>
            <a:ext cx="1357480" cy="1059807"/>
          </a:xfrm>
          <a:prstGeom prst="rect">
            <a:avLst/>
          </a:prstGeom>
        </p:spPr>
      </p:pic>
      <p:sp>
        <p:nvSpPr>
          <p:cNvPr id="19" name="Text Box 20"/>
          <p:cNvSpPr txBox="1">
            <a:spLocks noChangeArrowheads="1"/>
          </p:cNvSpPr>
          <p:nvPr/>
        </p:nvSpPr>
        <p:spPr bwMode="gray">
          <a:xfrm>
            <a:off x="8554490" y="4030881"/>
            <a:ext cx="843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</a:pPr>
            <a:r>
              <a:rPr lang="en-US" sz="700" i="1">
                <a:latin typeface="+mj-lt"/>
              </a:rPr>
              <a:t>SIR/PRG</a:t>
            </a:r>
          </a:p>
          <a:p>
            <a:pPr eaLnBrk="0" hangingPunct="0">
              <a:spcBef>
                <a:spcPts val="0"/>
              </a:spcBef>
            </a:pPr>
            <a:r>
              <a:rPr lang="en-US" sz="700" i="1">
                <a:latin typeface="+mj-lt"/>
              </a:rPr>
              <a:t>Checkpoint</a:t>
            </a: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gray">
          <a:xfrm flipV="1">
            <a:off x="8920677" y="4324333"/>
            <a:ext cx="134337" cy="194294"/>
          </a:xfrm>
          <a:prstGeom prst="upArrow">
            <a:avLst>
              <a:gd name="adj1" fmla="val 50000"/>
              <a:gd name="adj2" fmla="val 91576"/>
            </a:avLst>
          </a:prstGeom>
          <a:solidFill>
            <a:srgbClr val="00B388"/>
          </a:solidFill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ot="10800000" vert="eaVert" wrap="none" anchor="ctr"/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8991600" y="4585815"/>
            <a:ext cx="0" cy="67198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839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Deferred Defects List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10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CA519A-4045-4FA0-9074-BC9D91109EC8}"/>
              </a:ext>
            </a:extLst>
          </p:cNvPr>
          <p:cNvGraphicFramePr>
            <a:graphicFrameLocks noGrp="1"/>
          </p:cNvGraphicFramePr>
          <p:nvPr/>
        </p:nvGraphicFramePr>
        <p:xfrm>
          <a:off x="389696" y="1081010"/>
          <a:ext cx="10710780" cy="2303750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964286">
                  <a:extLst>
                    <a:ext uri="{9D8B030D-6E8A-4147-A177-3AD203B41FA5}">
                      <a16:colId xmlns:a16="http://schemas.microsoft.com/office/drawing/2014/main" val="133123245"/>
                    </a:ext>
                  </a:extLst>
                </a:gridCol>
                <a:gridCol w="2553644">
                  <a:extLst>
                    <a:ext uri="{9D8B030D-6E8A-4147-A177-3AD203B41FA5}">
                      <a16:colId xmlns:a16="http://schemas.microsoft.com/office/drawing/2014/main" val="3396853188"/>
                    </a:ext>
                  </a:extLst>
                </a:gridCol>
                <a:gridCol w="782524">
                  <a:extLst>
                    <a:ext uri="{9D8B030D-6E8A-4147-A177-3AD203B41FA5}">
                      <a16:colId xmlns:a16="http://schemas.microsoft.com/office/drawing/2014/main" val="2992994773"/>
                    </a:ext>
                  </a:extLst>
                </a:gridCol>
                <a:gridCol w="2485831">
                  <a:extLst>
                    <a:ext uri="{9D8B030D-6E8A-4147-A177-3AD203B41FA5}">
                      <a16:colId xmlns:a16="http://schemas.microsoft.com/office/drawing/2014/main" val="211924885"/>
                    </a:ext>
                  </a:extLst>
                </a:gridCol>
                <a:gridCol w="1924244">
                  <a:extLst>
                    <a:ext uri="{9D8B030D-6E8A-4147-A177-3AD203B41FA5}">
                      <a16:colId xmlns:a16="http://schemas.microsoft.com/office/drawing/2014/main" val="3770419361"/>
                    </a:ext>
                  </a:extLst>
                </a:gridCol>
                <a:gridCol w="20002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18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ira I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mpact/Justific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orkaroun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al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6426532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69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Core Team &amp; Stakeholder approv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55901865"/>
              </p:ext>
            </p:extLst>
          </p:nvPr>
        </p:nvGraphicFramePr>
        <p:xfrm>
          <a:off x="389696" y="1237221"/>
          <a:ext cx="8890853" cy="208154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26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7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6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848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latin typeface="+mj-lt"/>
                        </a:rPr>
                        <a:t>Nam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latin typeface="+mj-lt"/>
                        </a:rPr>
                        <a:t>Rol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+mj-lt"/>
                        </a:rPr>
                        <a:t>PRG </a:t>
                      </a:r>
                      <a:r>
                        <a:rPr lang="en-US" sz="1500" baseline="0" dirty="0">
                          <a:solidFill>
                            <a:schemeClr val="bg1"/>
                          </a:solidFill>
                          <a:latin typeface="+mj-lt"/>
                        </a:rPr>
                        <a:t>Signoff</a:t>
                      </a:r>
                    </a:p>
                    <a:p>
                      <a:pPr>
                        <a:buNone/>
                      </a:pPr>
                      <a:r>
                        <a:rPr lang="en-US" sz="1500" baseline="0" dirty="0">
                          <a:solidFill>
                            <a:schemeClr val="bg1"/>
                          </a:solidFill>
                          <a:latin typeface="+mj-lt"/>
                        </a:rPr>
                        <a:t>Date :  21/Aug/2020</a:t>
                      </a:r>
                      <a:endParaRPr lang="en-US" sz="1500" strike="noStrike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451">
                <a:tc>
                  <a:txBody>
                    <a:bodyPr/>
                    <a:lstStyle/>
                    <a:p>
                      <a:r>
                        <a:rPr lang="en-GB" sz="1400" baseline="0" dirty="0">
                          <a:latin typeface="+mn-lt"/>
                        </a:rPr>
                        <a:t>Lissette Cruz</a:t>
                      </a:r>
                      <a:endParaRPr lang="en-GB" sz="1400" dirty="0"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Product Managemen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451">
                <a:tc>
                  <a:txBody>
                    <a:bodyPr/>
                    <a:lstStyle/>
                    <a:p>
                      <a:r>
                        <a:rPr lang="en-GB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Nathalie</a:t>
                      </a:r>
                      <a:endParaRPr lang="en-GB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+mn-lt"/>
                        </a:rPr>
                        <a:t>Marke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n-lt"/>
                        </a:rPr>
                        <a:t>Gome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Program Management</a:t>
                      </a:r>
                      <a:endParaRPr lang="en-GB" sz="1400" dirty="0"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485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dirty="0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1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I/CD – Metrics </a:t>
            </a:r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557916"/>
              </p:ext>
            </p:extLst>
          </p:nvPr>
        </p:nvGraphicFramePr>
        <p:xfrm>
          <a:off x="389696" y="1965595"/>
          <a:ext cx="5953047" cy="2479585"/>
        </p:xfrm>
        <a:graphic>
          <a:graphicData uri="http://schemas.openxmlformats.org/drawingml/2006/table">
            <a:tbl>
              <a:tblPr/>
              <a:tblGrid>
                <a:gridCol w="21038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34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97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7338"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eature</a:t>
                      </a:r>
                      <a:r>
                        <a:rPr lang="en-US" sz="14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Set1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eature Set2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roduct Set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8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CI/CD cycles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70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Epic *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# Stories**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3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omated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ests Overhead (</a:t>
                      </a:r>
                      <a:r>
                        <a:rPr lang="en-US" sz="12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rs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3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al Tests Overhead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r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8626" marR="8626" marT="86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89696" y="1256223"/>
            <a:ext cx="6323161" cy="55322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Features and EPICs &amp; Stories delivered through this CI/CD relea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3406" y="4662692"/>
            <a:ext cx="4073796" cy="8338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b="1"/>
              <a:t>Notes: 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/>
              <a:t>* includes fully completed EPICs only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/>
              <a:t>** Stories that are part of partially completed EPICs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33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Exec Summar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prstGeom prst="rect">
            <a:avLst/>
          </a:prstGeom>
        </p:spPr>
        <p:txBody>
          <a:bodyPr vert="horz" lIns="0" tIns="0" rIns="0" bIns="0" rtlCol="0" anchor="t"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What is the Product/Solution or Release features</a:t>
            </a:r>
            <a:endParaRPr lang="en-US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dirty="0">
              <a:latin typeface="MetricHPE Light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SSD Selector v1 with the following features &amp; products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MetricHPE Light"/>
              </a:rPr>
              <a:t>SSD Selector delivered as SaaS in Azure cloud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Mainstream SKU Segmentation</a:t>
            </a:r>
            <a:endParaRPr lang="en-US" sz="1600" dirty="0"/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Portfolio alignment update - new swim lanes</a:t>
            </a:r>
            <a:endParaRPr lang="en-US" sz="1600" dirty="0"/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New workload category - Very Read Optimized (VRO)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New Interface categories – Value SAS and three different sub segments of NVMe. </a:t>
            </a:r>
            <a:endParaRPr lang="en-US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 dirty="0">
                <a:latin typeface="MetricHPE Light"/>
              </a:rPr>
              <a:t>HPE VGB products in the release scope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NVMe Mixed Use Solid State Drives</a:t>
            </a: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NVMe Read Intensive Solid State Drives</a:t>
            </a: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Write Intensive Solid State Driv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Mixed Use Solid State Driv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>
                <a:latin typeface="MetricHPE Light"/>
              </a:rPr>
              <a:t>HPE SAS Read Intensive Solid State Drives</a:t>
            </a:r>
            <a:endParaRPr lang="en-US" sz="1600" dirty="0">
              <a:latin typeface="MetricHPE Light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MetricHPE Light"/>
              </a:rPr>
              <a:t>Mainstream SKU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sz="1700" b="1" dirty="0"/>
              <a:t>Release Status</a:t>
            </a:r>
          </a:p>
          <a:p>
            <a:r>
              <a:rPr lang="en-US" sz="1700" dirty="0">
                <a:latin typeface="MetricHPE Light"/>
              </a:rPr>
              <a:t>Internal QA &amp; Regression cycle – day by day slip (on 8/21)</a:t>
            </a:r>
          </a:p>
          <a:p>
            <a:r>
              <a:rPr lang="en-US" sz="1700" dirty="0">
                <a:latin typeface="MetricHPE Light"/>
              </a:rPr>
              <a:t>UAT completed and sign-off – beta released on 8/17</a:t>
            </a:r>
            <a:endParaRPr lang="en-US" sz="1700" dirty="0"/>
          </a:p>
          <a:p>
            <a:r>
              <a:rPr lang="en-US" sz="1700" dirty="0">
                <a:latin typeface="MetricHPE Light"/>
              </a:rPr>
              <a:t>Beta feedback implemented and signed-off</a:t>
            </a:r>
          </a:p>
          <a:p>
            <a:pPr lvl="1"/>
            <a:r>
              <a:rPr lang="en-US" sz="1500" dirty="0">
                <a:latin typeface="MetricHPE Light"/>
              </a:rPr>
              <a:t>Feedback on search item</a:t>
            </a:r>
          </a:p>
          <a:p>
            <a:r>
              <a:rPr lang="en-US" sz="1700" dirty="0">
                <a:latin typeface="MetricHPE Light"/>
              </a:rPr>
              <a:t>User documentation ready for release – V1 guide released to Lissette</a:t>
            </a:r>
          </a:p>
          <a:p>
            <a:pPr marL="0" indent="0">
              <a:buNone/>
            </a:pPr>
            <a:endParaRPr lang="en-US" sz="1700" dirty="0"/>
          </a:p>
          <a:p>
            <a:pPr marL="0" indent="0">
              <a:buNone/>
            </a:pPr>
            <a:r>
              <a:rPr lang="en-US" sz="1700" b="1" dirty="0"/>
              <a:t>Key Target Dates</a:t>
            </a:r>
          </a:p>
          <a:p>
            <a:r>
              <a:rPr lang="en-US" sz="1700" dirty="0"/>
              <a:t>ARP checkpoint : 10-Jul-2020</a:t>
            </a:r>
          </a:p>
          <a:p>
            <a:r>
              <a:rPr lang="en-US" sz="1700" dirty="0"/>
              <a:t>Release (PRG) checkpoint : 21-Aug-2020</a:t>
            </a:r>
          </a:p>
          <a:p>
            <a:r>
              <a:rPr lang="en-US" sz="1700" dirty="0"/>
              <a:t>CTR/Deploy to Production: 24-Aug-2020</a:t>
            </a: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r>
              <a:rPr lang="en-US" sz="1700" b="1" dirty="0"/>
              <a:t>Key Dependencies and Risks</a:t>
            </a:r>
          </a:p>
          <a:p>
            <a:r>
              <a:rPr lang="en-US" sz="1700" dirty="0"/>
              <a:t>No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chemeClr val="tx1"/>
                </a:solidFill>
              </a:rPr>
              <a:pPr/>
              <a:t>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25656" y="387449"/>
            <a:ext cx="1516743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Lissette, Gomes</a:t>
            </a:r>
          </a:p>
        </p:txBody>
      </p:sp>
    </p:spTree>
    <p:extLst>
      <p:ext uri="{BB962C8B-B14F-4D97-AF65-F5344CB8AC3E}">
        <p14:creationId xmlns:p14="http://schemas.microsoft.com/office/powerpoint/2010/main" val="34240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Development &amp; QA Update</a:t>
            </a:r>
          </a:p>
        </p:txBody>
      </p:sp>
    </p:spTree>
    <p:extLst>
      <p:ext uri="{BB962C8B-B14F-4D97-AF65-F5344CB8AC3E}">
        <p14:creationId xmlns:p14="http://schemas.microsoft.com/office/powerpoint/2010/main" val="222704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Prioritized Feature List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ACD958E1-F99A-4A67-92A6-CC1530CD0CA9}" type="slidenum">
              <a:rPr lang="en-US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926819"/>
              </p:ext>
            </p:extLst>
          </p:nvPr>
        </p:nvGraphicFramePr>
        <p:xfrm>
          <a:off x="408978" y="949646"/>
          <a:ext cx="10793878" cy="4521024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849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9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47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7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37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3824"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PIC</a:t>
                      </a:r>
                    </a:p>
                  </a:txBody>
                  <a:tcPr marL="61246" marR="61246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ory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/ Epic Description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 - Mainstream/ Non-Mainstrea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2 - For the user, provide an option to search SSD by server type, mod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  <a:p>
                      <a:pPr algn="ct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3 - For the user, provide simplified UX experience with minimal clicks and reduced navigation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4 - For the user, provide output of the tool to be exported in Excel form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B0F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5 - For the user, provide visual representation of the output through graphical represent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6 - Remove Recommended/Extended as that initiative is no longer being supported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7- Update the portfolio alignment slide to add our new swim lan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8 - Change the workload categories from 3 to 4 - Very Read Optimized (VRO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9 - Update the interfaces categories as well (add Value SAS, add three different sub segments of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VM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etc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0 - Remove Mezzanine Card from fac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525657" y="387449"/>
            <a:ext cx="4572000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opy from features tab in the plan spreadshe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59357" y="6048530"/>
            <a:ext cx="228540" cy="22854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86129" y="6061397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Complet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67483" y="6356266"/>
            <a:ext cx="228540" cy="22854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94255" y="6369133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On Tra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4856" y="6050382"/>
            <a:ext cx="228540" cy="22854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21628" y="6063249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At ris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894856" y="6351279"/>
            <a:ext cx="228540" cy="22854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21628" y="6364146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Not done</a:t>
            </a:r>
          </a:p>
        </p:txBody>
      </p:sp>
    </p:spTree>
    <p:extLst>
      <p:ext uri="{BB962C8B-B14F-4D97-AF65-F5344CB8AC3E}">
        <p14:creationId xmlns:p14="http://schemas.microsoft.com/office/powerpoint/2010/main" val="339060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Prioritized Feature List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ACD958E1-F99A-4A67-92A6-CC1530CD0CA9}" type="slidenum">
              <a:rPr lang="en-US" smtClean="0">
                <a:solidFill>
                  <a:schemeClr val="tx1"/>
                </a:solidFill>
              </a:rPr>
              <a:t>5</a:t>
            </a:fld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637160"/>
              </p:ext>
            </p:extLst>
          </p:nvPr>
        </p:nvGraphicFramePr>
        <p:xfrm>
          <a:off x="408978" y="949646"/>
          <a:ext cx="10793877" cy="4789915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849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9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47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7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37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3824"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EPIC</a:t>
                      </a:r>
                    </a:p>
                  </a:txBody>
                  <a:tcPr marL="61246" marR="61246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tory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Feature</a:t>
                      </a: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 / Epic Description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FC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QA</a:t>
                      </a: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1 - Implement all SSDs for DL385 Gen1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2 - Implement all SSDs for Synergy Gen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47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3 - Implement all SSDs from Quartz NPI Laun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4 - Implement all SSDs from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yanit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PI Launc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15 - Implement all SSDs for Gen10 Plus Serv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6979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525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633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b="0" i="0" u="none" strike="noStrike" kern="1200" noProof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173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3267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 defTabSz="91440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3267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5600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dirty="0"/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46" marR="6124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525657" y="387449"/>
            <a:ext cx="4572000" cy="427036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</a:ln>
        </p:spPr>
        <p:txBody>
          <a:bodyPr wrap="none" lIns="18288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dirty="0"/>
              <a:t>Copy from features tab in the plan spreadshe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59357" y="6048530"/>
            <a:ext cx="228540" cy="22854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86129" y="6061397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Complet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67483" y="6356266"/>
            <a:ext cx="228540" cy="22854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94255" y="6369133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On Tra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4856" y="6050382"/>
            <a:ext cx="228540" cy="22854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21628" y="6063249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At ris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894856" y="6351279"/>
            <a:ext cx="228540" cy="22854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899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21628" y="6364146"/>
            <a:ext cx="810495" cy="2243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black"/>
                </a:solidFill>
              </a:rPr>
              <a:t>Not done</a:t>
            </a:r>
          </a:p>
        </p:txBody>
      </p:sp>
    </p:spTree>
    <p:extLst>
      <p:ext uri="{BB962C8B-B14F-4D97-AF65-F5344CB8AC3E}">
        <p14:creationId xmlns:p14="http://schemas.microsoft.com/office/powerpoint/2010/main" val="90348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Defect Metr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dirty="0" smtClean="0">
                <a:solidFill>
                  <a:srgbClr val="5F7A76"/>
                </a:solidFill>
              </a:rPr>
              <a:pPr/>
              <a:t>6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1216231"/>
              </p:ext>
            </p:extLst>
          </p:nvPr>
        </p:nvGraphicFramePr>
        <p:xfrm>
          <a:off x="2028092" y="1629508"/>
          <a:ext cx="7725076" cy="2237361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2151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5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4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3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259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864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 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ritical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igh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um 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ow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 anchorCtr="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os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7</a:t>
                      </a: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err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7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163930"/>
              </p:ext>
            </p:extLst>
          </p:nvPr>
        </p:nvGraphicFramePr>
        <p:xfrm>
          <a:off x="2022003" y="4064450"/>
          <a:ext cx="7725076" cy="2237361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2151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2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5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4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53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259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864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 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 </a:t>
                      </a:r>
                    </a:p>
                    <a:p>
                      <a:pPr algn="ctr" fontAlgn="b"/>
                      <a:r>
                        <a:rPr lang="en-US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ritical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igh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edium 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ow</a:t>
                      </a:r>
                    </a:p>
                  </a:txBody>
                  <a:tcPr marL="0" marR="0" marT="0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 anchorCtr="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/Open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ed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31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495" marR="7495" marT="749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011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99" y="484357"/>
            <a:ext cx="10967086" cy="315179"/>
          </a:xfrm>
        </p:spPr>
        <p:txBody>
          <a:bodyPr/>
          <a:lstStyle/>
          <a:p>
            <a:r>
              <a:rPr lang="en-US" dirty="0"/>
              <a:t>Quality Dashboard – Release Criteria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7480124" y="6430234"/>
            <a:ext cx="3479274" cy="206181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11049000" y="6430868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7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1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670025"/>
              </p:ext>
            </p:extLst>
          </p:nvPr>
        </p:nvGraphicFramePr>
        <p:xfrm>
          <a:off x="384899" y="1083131"/>
          <a:ext cx="7659171" cy="458643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2732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59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015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Category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Overall Statu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baseline="0" dirty="0">
                          <a:latin typeface="+mn-lt"/>
                        </a:rPr>
                        <a:t>Integration Test Completeness</a:t>
                      </a:r>
                      <a:endParaRPr lang="en-US" sz="1200" dirty="0">
                        <a:solidFill>
                          <a:srgbClr val="FF00FF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noStrike" baseline="0" dirty="0">
                          <a:latin typeface="+mn-lt"/>
                        </a:rPr>
                        <a:t>5 Issues completed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Functional Completenes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noStrike" baseline="0" dirty="0">
                          <a:latin typeface="+mn-lt"/>
                        </a:rPr>
                        <a:t>S12 – S15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</a:rPr>
                        <a:t>U</a:t>
                      </a:r>
                      <a:r>
                        <a:rPr lang="en-US" sz="1200" baseline="0" dirty="0">
                          <a:latin typeface="+mn-lt"/>
                        </a:rPr>
                        <a:t>nit Tests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noStrike" baseline="0" dirty="0">
                          <a:latin typeface="+mn-lt"/>
                        </a:rPr>
                        <a:t>S12 – S15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Defects Containment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strike="noStrike" baseline="0" dirty="0">
                          <a:latin typeface="+mn-lt"/>
                        </a:rPr>
                        <a:t>1 Slider perf issue fixed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No regression issues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sz="1200" strike="noStrike" baseline="0" dirty="0"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Deployment and update testing for online tools </a:t>
                      </a:r>
                    </a:p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(Deployment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o production readiness)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200" strike="noStrike" baseline="0" dirty="0">
                          <a:latin typeface="+mn-lt"/>
                        </a:rPr>
                        <a:t>Prashant to test further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Non-Functional [Performance/Scalability]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Browser Compatibility Testing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strike="noStrike" baseline="0" dirty="0">
                          <a:latin typeface="+mn-lt"/>
                        </a:rPr>
                        <a:t>Testing completed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User Documentation </a:t>
                      </a:r>
                      <a:endParaRPr lang="en-US" sz="1200" dirty="0">
                        <a:solidFill>
                          <a:srgbClr val="FF00FF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Review with Open Source Review Board (OSRB)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N/A</a:t>
                      </a: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1846">
                <a:tc>
                  <a:txBody>
                    <a:bodyPr/>
                    <a:lstStyle/>
                    <a:p>
                      <a:pPr algn="l"/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Code Quality &amp; Secur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888" marR="121888" marT="45705" marB="4570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965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07" y="461178"/>
            <a:ext cx="10969945" cy="318964"/>
          </a:xfrm>
        </p:spPr>
        <p:txBody>
          <a:bodyPr/>
          <a:lstStyle/>
          <a:p>
            <a:r>
              <a:rPr lang="en-US" dirty="0">
                <a:solidFill>
                  <a:srgbClr val="00B08A"/>
                </a:solidFill>
              </a:rPr>
              <a:t>SSD Selector </a:t>
            </a:r>
            <a:r>
              <a:rPr lang="en-US" dirty="0"/>
              <a:t>– Test Metr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52400" y="6553200"/>
            <a:ext cx="384015" cy="241772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8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A43DC47-1956-457C-8132-D06FD6FA37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589919"/>
              </p:ext>
            </p:extLst>
          </p:nvPr>
        </p:nvGraphicFramePr>
        <p:xfrm>
          <a:off x="344407" y="1110634"/>
          <a:ext cx="11147130" cy="5038382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4670279">
                  <a:extLst>
                    <a:ext uri="{9D8B030D-6E8A-4147-A177-3AD203B41FA5}">
                      <a16:colId xmlns:a16="http://schemas.microsoft.com/office/drawing/2014/main" val="1108052658"/>
                    </a:ext>
                  </a:extLst>
                </a:gridCol>
                <a:gridCol w="876881">
                  <a:extLst>
                    <a:ext uri="{9D8B030D-6E8A-4147-A177-3AD203B41FA5}">
                      <a16:colId xmlns:a16="http://schemas.microsoft.com/office/drawing/2014/main" val="408294298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682103193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91603992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281080001"/>
                    </a:ext>
                  </a:extLst>
                </a:gridCol>
                <a:gridCol w="788617">
                  <a:extLst>
                    <a:ext uri="{9D8B030D-6E8A-4147-A177-3AD203B41FA5}">
                      <a16:colId xmlns:a16="http://schemas.microsoft.com/office/drawing/2014/main" val="1603916134"/>
                    </a:ext>
                  </a:extLst>
                </a:gridCol>
                <a:gridCol w="2445502">
                  <a:extLst>
                    <a:ext uri="{9D8B030D-6E8A-4147-A177-3AD203B41FA5}">
                      <a16:colId xmlns:a16="http://schemas.microsoft.com/office/drawing/2014/main" val="3699254096"/>
                    </a:ext>
                  </a:extLst>
                </a:gridCol>
              </a:tblGrid>
              <a:tr h="17712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Module /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# of Test cases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Pass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Fail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Not Run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Blocked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b"/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Remarks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556141"/>
                  </a:ext>
                </a:extLst>
              </a:tr>
              <a:tr h="2910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b="1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onent / Category / Subsystem</a:t>
                      </a:r>
                      <a:endParaRPr lang="en-US" sz="14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 vMerge="1">
                  <a:txBody>
                    <a:bodyPr/>
                    <a:lstStyle/>
                    <a:p>
                      <a:pPr algn="l" rtl="0" fontAlgn="b"/>
                      <a:endParaRPr lang="en-US" sz="1100" b="1" i="0" u="none" strike="noStrike" baseline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extLst>
                  <a:ext uri="{0D108BD9-81ED-4DB2-BD59-A6C34878D82A}">
                    <a16:rowId xmlns:a16="http://schemas.microsoft.com/office/drawing/2014/main" val="313727882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- Category1 </a:t>
                      </a:r>
                    </a:p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Homepage, Workload, SSD type, SSD Server Type and Capacity)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baseline="0" dirty="0">
                          <a:effectLst/>
                          <a:latin typeface="+mn-lt"/>
                        </a:rPr>
                        <a:t> </a:t>
                      </a:r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u="none" strike="noStrike" baseline="0" dirty="0">
                          <a:effectLst/>
                          <a:latin typeface="+mn-lt"/>
                        </a:rPr>
                        <a:t>Search Icon in Home Page</a:t>
                      </a:r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688907263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– Category2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Interface, Form Factor and Mainstream)</a:t>
                      </a:r>
                    </a:p>
                    <a:p>
                      <a:pPr lvl="0"/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u="none" strike="noStrike" baseline="0" dirty="0">
                        <a:effectLst/>
                        <a:latin typeface="+mn-lt"/>
                      </a:endParaRPr>
                    </a:p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Selector Tool Features Test Cases – Category3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Results)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Synergy Gen1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3969021531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NPIs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aunches (</a:t>
                      </a:r>
                      <a:r>
                        <a:rPr lang="en-US" sz="120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ynaite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 Quartz)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SD Product Coverage Test Cases – All Gen10+ Servers, DL385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Gen10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lvl="0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pplication Performance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nd Scaling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55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egression Test Cases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T="9525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 the Home Page, Search Icon is not there.</a:t>
                      </a:r>
                    </a:p>
                  </a:txBody>
                  <a:tcPr marT="9525" marB="0"/>
                </a:tc>
                <a:extLst>
                  <a:ext uri="{0D108BD9-81ED-4DB2-BD59-A6C34878D82A}">
                    <a16:rowId xmlns:a16="http://schemas.microsoft.com/office/drawing/2014/main" val="450026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188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1A982"/>
                </a:solidFill>
              </a:rPr>
              <a:t>SSD Selector </a:t>
            </a:r>
            <a:r>
              <a:rPr lang="en-US" dirty="0"/>
              <a:t>OPEN Defects List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9</a:t>
            </a:fld>
            <a:endParaRPr lang="en-US">
              <a:solidFill>
                <a:srgbClr val="5F7A76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CA519A-4045-4FA0-9074-BC9D91109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745782"/>
              </p:ext>
            </p:extLst>
          </p:nvPr>
        </p:nvGraphicFramePr>
        <p:xfrm>
          <a:off x="389696" y="1081010"/>
          <a:ext cx="10474247" cy="1432820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964286">
                  <a:extLst>
                    <a:ext uri="{9D8B030D-6E8A-4147-A177-3AD203B41FA5}">
                      <a16:colId xmlns:a16="http://schemas.microsoft.com/office/drawing/2014/main" val="133123245"/>
                    </a:ext>
                  </a:extLst>
                </a:gridCol>
                <a:gridCol w="1019104">
                  <a:extLst>
                    <a:ext uri="{9D8B030D-6E8A-4147-A177-3AD203B41FA5}">
                      <a16:colId xmlns:a16="http://schemas.microsoft.com/office/drawing/2014/main" val="3396853188"/>
                    </a:ext>
                  </a:extLst>
                </a:gridCol>
                <a:gridCol w="6930571">
                  <a:extLst>
                    <a:ext uri="{9D8B030D-6E8A-4147-A177-3AD203B41FA5}">
                      <a16:colId xmlns:a16="http://schemas.microsoft.com/office/drawing/2014/main" val="2992994773"/>
                    </a:ext>
                  </a:extLst>
                </a:gridCol>
                <a:gridCol w="15602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189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D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verit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mmary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6426532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SDV1.1_159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Medium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 the Home Page, Search Icon is not there.</a:t>
                      </a: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465">
                <a:tc>
                  <a:txBody>
                    <a:bodyPr/>
                    <a:lstStyle/>
                    <a:p>
                      <a:pPr algn="l" fontAlgn="t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50800" marR="50800" marT="50800" marB="50800" anchor="ctr"/>
                </a:tc>
                <a:tc>
                  <a:txBody>
                    <a:bodyPr/>
                    <a:lstStyle/>
                    <a:p>
                      <a:pPr algn="l"/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50800" marR="50800" marT="50800" marB="50800" anchor="ctr"/>
                </a:tc>
                <a:extLst>
                  <a:ext uri="{0D108BD9-81ED-4DB2-BD59-A6C34878D82A}">
                    <a16:rowId xmlns:a16="http://schemas.microsoft.com/office/drawing/2014/main" val="321454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37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8&quot; Source=&quot;Harvey 8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0/8 [0]&quot; Source=&quot;Harvey 8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1/8 [1]&quot; Source=&quot;Harvey 8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2/8 [2]&quot; Source=&quot;Harvey 8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3/8 [3]&quot; Source=&quot;Harvey 8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4/8 [4]&quot; Source=&quot;Harvey 8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5/8 [5]&quot; Source=&quot;Harvey 8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6/8 [6]&quot; Source=&quot;Harvey 8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7/8 [7]&quot; Source=&quot;Harvey 8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19f65a05-88cd-4264-85e2-6044aa9b314d&quot; IsConsolidated=&quot;False&quot; IsTopLevel=&quot;False&quot; Layer=&quot;Harvey 8/8 [8]&quot; Source=&quot;Harvey 8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2.xml><?xml version="1.0" encoding="utf-8"?>
<a:theme xmlns:a="http://schemas.openxmlformats.org/drawingml/2006/main" name="1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6" id="{915D7471-45D9-49D9-B21C-ED279F5A70BE}" vid="{155F1C2B-79FB-417F-8EDF-2935430F0B97}"/>
    </a:ext>
  </a:extLst>
</a:theme>
</file>

<file path=ppt/theme/theme3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solidFill>
            <a:schemeClr val="accent1"/>
          </a:solidFill>
          <a:miter lim="800000"/>
        </a:ln>
      </a:spPr>
      <a:bodyPr wrap="square" lIns="182880" tIns="182880" rIns="182880" bIns="182880" rtlCol="0">
        <a:noAutofit/>
      </a:bodyPr>
      <a:lstStyle>
        <a:defPPr>
          <a:lnSpc>
            <a:spcPct val="90000"/>
          </a:lnSpc>
          <a:spcBef>
            <a:spcPts val="400"/>
          </a:spcBef>
          <a:defRPr dirty="0"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B08A"/>
      </a:hlink>
      <a:folHlink>
        <a:srgbClr val="01B08A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0B08A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394807ED2DA04A98F6C6FB508FF34E" ma:contentTypeVersion="11" ma:contentTypeDescription="Create a new document." ma:contentTypeScope="" ma:versionID="b9d7d44c19d406d6bfa9b10deef036ec">
  <xsd:schema xmlns:xsd="http://www.w3.org/2001/XMLSchema" xmlns:xs="http://www.w3.org/2001/XMLSchema" xmlns:p="http://schemas.microsoft.com/office/2006/metadata/properties" xmlns:ns2="9a5baad4-2dbe-4f85-83e2-d99a6c51fd53" xmlns:ns3="3beacd2f-7189-4538-ae31-8f760bd4355f" targetNamespace="http://schemas.microsoft.com/office/2006/metadata/properties" ma:root="true" ma:fieldsID="8b0c987d704cff0a2b1ac990ec810e25" ns2:_="" ns3:_="">
    <xsd:import namespace="9a5baad4-2dbe-4f85-83e2-d99a6c51fd53"/>
    <xsd:import namespace="3beacd2f-7189-4538-ae31-8f760bd435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5baad4-2dbe-4f85-83e2-d99a6c51f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eacd2f-7189-4538-ae31-8f760bd4355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Application xmlns="http://www.sap.com/cof/powerpoint/application">
  <Version>2</Version>
  <Revision>2.7.101.84209</Revision>
</Applic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7D72B7-8586-4F40-AFC5-C835ED6187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5baad4-2dbe-4f85-83e2-d99a6c51fd53"/>
    <ds:schemaRef ds:uri="3beacd2f-7189-4538-ae31-8f760bd435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6CBAC7-C488-40B5-970F-E3F9C6820A2C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96875D3B-53E8-456B-A919-8D4CEEE312B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CED1AE7-CC53-4D93-B28E-5ED3CA609D37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9a5baad4-2dbe-4f85-83e2-d99a6c51fd53"/>
    <ds:schemaRef ds:uri="http://purl.org/dc/terms/"/>
    <ds:schemaRef ds:uri="3beacd2f-7189-4538-ae31-8f760bd4355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-standard-16x9-whitetemplate-1566291849757</Template>
  <TotalTime>3235</TotalTime>
  <Words>1040</Words>
  <Application>Microsoft Office PowerPoint</Application>
  <PresentationFormat>Widescreen</PresentationFormat>
  <Paragraphs>301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HP Simplified</vt:lpstr>
      <vt:lpstr>Lucida Calligraphy</vt:lpstr>
      <vt:lpstr>Metric</vt:lpstr>
      <vt:lpstr>MetricHPE Black</vt:lpstr>
      <vt:lpstr>MetricHPE Light</vt:lpstr>
      <vt:lpstr>MetricHPE Semibold</vt:lpstr>
      <vt:lpstr>Wingdings</vt:lpstr>
      <vt:lpstr>HPE_Standard_Metric_16x9_080117</vt:lpstr>
      <vt:lpstr>1_HPE_Standard_Metric_16x9_080117</vt:lpstr>
      <vt:lpstr>2_HPE_Standard_Metric_16x9_080117</vt:lpstr>
      <vt:lpstr>think-cell Slide</vt:lpstr>
      <vt:lpstr>Agile Product Release Grant (PRG) Checkpoint SSD Selector in Azure – v1</vt:lpstr>
      <vt:lpstr>Exec Summary </vt:lpstr>
      <vt:lpstr>Development &amp; QA Update</vt:lpstr>
      <vt:lpstr>SSD Selector Prioritized Feature List</vt:lpstr>
      <vt:lpstr>SSD Selector Prioritized Feature List</vt:lpstr>
      <vt:lpstr>SSD Selector Defect Metrics</vt:lpstr>
      <vt:lpstr>Quality Dashboard – Release Criteria</vt:lpstr>
      <vt:lpstr>SSD Selector – Test Metrics</vt:lpstr>
      <vt:lpstr>SSD Selector OPEN Defects List</vt:lpstr>
      <vt:lpstr>SSD Selector Deferred Defects List</vt:lpstr>
      <vt:lpstr>Core Team &amp; Stakeholder approval</vt:lpstr>
      <vt:lpstr>Backup</vt:lpstr>
      <vt:lpstr>CI/CD – Metrics 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gal guidelines for powerpoint presentations</dc:title>
  <dc:creator>Fitts, Robin</dc:creator>
  <cp:lastModifiedBy>Kinagi, Prashant</cp:lastModifiedBy>
  <cp:revision>230</cp:revision>
  <cp:lastPrinted>2020-02-27T16:29:54Z</cp:lastPrinted>
  <dcterms:created xsi:type="dcterms:W3CDTF">2019-08-26T17:33:21Z</dcterms:created>
  <dcterms:modified xsi:type="dcterms:W3CDTF">2020-08-27T16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CA394807ED2DA04A98F6C6FB508FF34E</vt:lpwstr>
  </property>
</Properties>
</file>